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4" r:id="rId1"/>
  </p:sldMasterIdLst>
  <p:notesMasterIdLst>
    <p:notesMasterId r:id="rId11"/>
  </p:notesMasterIdLst>
  <p:sldIdLst>
    <p:sldId id="261" r:id="rId2"/>
    <p:sldId id="265" r:id="rId3"/>
    <p:sldId id="257" r:id="rId4"/>
    <p:sldId id="258" r:id="rId5"/>
    <p:sldId id="259" r:id="rId6"/>
    <p:sldId id="264" r:id="rId7"/>
    <p:sldId id="262" r:id="rId8"/>
    <p:sldId id="266" r:id="rId9"/>
    <p:sldId id="268" r:id="rId10"/>
  </p:sldIdLst>
  <p:sldSz cx="9144000" cy="5143500" type="screen16x9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676" autoAdjust="0"/>
  </p:normalViewPr>
  <p:slideViewPr>
    <p:cSldViewPr>
      <p:cViewPr varScale="1">
        <p:scale>
          <a:sx n="93" d="100"/>
          <a:sy n="93" d="100"/>
        </p:scale>
        <p:origin x="84" y="7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E05FB-D277-47E0-889F-53C152BE5E79}" type="datetimeFigureOut">
              <a:rPr lang="cs-CZ" smtClean="0"/>
              <a:pPr/>
              <a:t>23.1.2020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742FE6-AA6D-4AA0-8C09-53958B4725D2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6657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742FE6-AA6D-4AA0-8C09-53958B4725D2}" type="slidenum">
              <a:rPr lang="cs-CZ" smtClean="0"/>
              <a:pPr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19756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délník 22"/>
          <p:cNvSpPr/>
          <p:nvPr/>
        </p:nvSpPr>
        <p:spPr>
          <a:xfrm flipV="1">
            <a:off x="5410183" y="2857501"/>
            <a:ext cx="3733819" cy="6831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4" name="Obdélník 23"/>
          <p:cNvSpPr/>
          <p:nvPr/>
        </p:nvSpPr>
        <p:spPr>
          <a:xfrm flipV="1">
            <a:off x="5410201" y="2922758"/>
            <a:ext cx="3733801" cy="144018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5" name="Obdélník 24"/>
          <p:cNvSpPr/>
          <p:nvPr/>
        </p:nvSpPr>
        <p:spPr>
          <a:xfrm flipV="1">
            <a:off x="5410201" y="3086375"/>
            <a:ext cx="3733801" cy="6858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Obdélník 25"/>
          <p:cNvSpPr/>
          <p:nvPr/>
        </p:nvSpPr>
        <p:spPr>
          <a:xfrm flipV="1">
            <a:off x="5410200" y="3123302"/>
            <a:ext cx="1965960" cy="13716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7" name="Obdélník 26"/>
          <p:cNvSpPr/>
          <p:nvPr/>
        </p:nvSpPr>
        <p:spPr>
          <a:xfrm flipV="1">
            <a:off x="5410200" y="3149679"/>
            <a:ext cx="1965960" cy="6858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0" name="Zaoblený obdélník 29"/>
          <p:cNvSpPr/>
          <p:nvPr/>
        </p:nvSpPr>
        <p:spPr bwMode="white">
          <a:xfrm>
            <a:off x="5410200" y="2971800"/>
            <a:ext cx="3063240" cy="20574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1" name="Zaoblený obdélník 30"/>
          <p:cNvSpPr/>
          <p:nvPr/>
        </p:nvSpPr>
        <p:spPr bwMode="white">
          <a:xfrm>
            <a:off x="7376507" y="3045737"/>
            <a:ext cx="160020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7" name="Obdélník 6"/>
          <p:cNvSpPr/>
          <p:nvPr/>
        </p:nvSpPr>
        <p:spPr>
          <a:xfrm>
            <a:off x="1" y="2737246"/>
            <a:ext cx="9144000" cy="183128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0" name="Obdélník 9"/>
          <p:cNvSpPr/>
          <p:nvPr/>
        </p:nvSpPr>
        <p:spPr>
          <a:xfrm>
            <a:off x="1" y="2756646"/>
            <a:ext cx="9144001" cy="10550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1" name="Obdélník 10"/>
          <p:cNvSpPr/>
          <p:nvPr/>
        </p:nvSpPr>
        <p:spPr>
          <a:xfrm flipV="1">
            <a:off x="6414051" y="2732318"/>
            <a:ext cx="2729950" cy="186324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9" name="Obdélník 18"/>
          <p:cNvSpPr/>
          <p:nvPr/>
        </p:nvSpPr>
        <p:spPr>
          <a:xfrm>
            <a:off x="0" y="0"/>
            <a:ext cx="9144000" cy="2776275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8" name="Nadpis 7"/>
          <p:cNvSpPr>
            <a:spLocks noGrp="1"/>
          </p:cNvSpPr>
          <p:nvPr>
            <p:ph type="ctrTitle"/>
          </p:nvPr>
        </p:nvSpPr>
        <p:spPr>
          <a:xfrm>
            <a:off x="457200" y="1801416"/>
            <a:ext cx="8458200" cy="1102519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9" name="Podnadpis 8"/>
          <p:cNvSpPr>
            <a:spLocks noGrp="1"/>
          </p:cNvSpPr>
          <p:nvPr>
            <p:ph type="subTitle" idx="1"/>
          </p:nvPr>
        </p:nvSpPr>
        <p:spPr>
          <a:xfrm>
            <a:off x="457200" y="2924953"/>
            <a:ext cx="4953000" cy="131445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cs-CZ" smtClean="0"/>
              <a:t>Klepnutím lze upravit styl předlohy podnadpisů.</a:t>
            </a:r>
            <a:endParaRPr kumimoji="0" lang="en-US"/>
          </a:p>
        </p:txBody>
      </p:sp>
      <p:sp>
        <p:nvSpPr>
          <p:cNvPr id="28" name="Zástupný symbol pro datum 27"/>
          <p:cNvSpPr>
            <a:spLocks noGrp="1"/>
          </p:cNvSpPr>
          <p:nvPr>
            <p:ph type="dt" sz="half" idx="10"/>
          </p:nvPr>
        </p:nvSpPr>
        <p:spPr>
          <a:xfrm>
            <a:off x="6705600" y="3154680"/>
            <a:ext cx="960120" cy="342900"/>
          </a:xfrm>
        </p:spPr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17" name="Zástupný symbol pro zápatí 16"/>
          <p:cNvSpPr>
            <a:spLocks noGrp="1"/>
          </p:cNvSpPr>
          <p:nvPr>
            <p:ph type="ftr" sz="quarter" idx="11"/>
          </p:nvPr>
        </p:nvSpPr>
        <p:spPr>
          <a:xfrm>
            <a:off x="5410200" y="3153966"/>
            <a:ext cx="1295400" cy="342900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29" name="Zástupný symbol pro číslo snímku 28"/>
          <p:cNvSpPr>
            <a:spLocks noGrp="1"/>
          </p:cNvSpPr>
          <p:nvPr>
            <p:ph type="sldNum" sz="quarter" idx="12"/>
          </p:nvPr>
        </p:nvSpPr>
        <p:spPr>
          <a:xfrm>
            <a:off x="8320088" y="852"/>
            <a:ext cx="747712" cy="274320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781800" y="857250"/>
            <a:ext cx="1905000" cy="4114800"/>
          </a:xfrm>
        </p:spPr>
        <p:txBody>
          <a:bodyPr vert="eaVert"/>
          <a:lstStyle/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857250"/>
            <a:ext cx="6248400" cy="4114800"/>
          </a:xfrm>
        </p:spPr>
        <p:txBody>
          <a:bodyPr vert="eaVert"/>
          <a:lstStyle/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1485901"/>
            <a:ext cx="7772400" cy="1021556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525316"/>
            <a:ext cx="7772400" cy="1132284"/>
          </a:xfrm>
        </p:spPr>
        <p:txBody>
          <a:bodyPr anchor="t"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cs-CZ" smtClean="0"/>
              <a:t>Klep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87069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87069"/>
            <a:ext cx="4038600" cy="3394472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81000" y="857250"/>
            <a:ext cx="8382000" cy="802386"/>
          </a:xfrm>
        </p:spPr>
        <p:txBody>
          <a:bodyPr anchor="ctr"/>
          <a:lstStyle>
            <a:lvl1pPr>
              <a:defRPr sz="4000" b="0" i="0" cap="none" baseline="0"/>
            </a:lvl1pPr>
          </a:lstStyle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81000" y="1683728"/>
            <a:ext cx="4041648" cy="3429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cs-CZ" smtClean="0"/>
              <a:t>Klepnutím lze upravit styly předlohy textu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3"/>
          </p:nvPr>
        </p:nvSpPr>
        <p:spPr>
          <a:xfrm>
            <a:off x="4721226" y="1683728"/>
            <a:ext cx="4041775" cy="3429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cs-CZ" smtClean="0"/>
              <a:t>Klepnutím lze upravit styly předlohy textu.</a:t>
            </a:r>
          </a:p>
        </p:txBody>
      </p:sp>
      <p:sp>
        <p:nvSpPr>
          <p:cNvPr id="5" name="Zástupný symbol pro obsah 4"/>
          <p:cNvSpPr>
            <a:spLocks noGrp="1"/>
          </p:cNvSpPr>
          <p:nvPr>
            <p:ph sz="quarter" idx="2"/>
          </p:nvPr>
        </p:nvSpPr>
        <p:spPr>
          <a:xfrm>
            <a:off x="381000" y="2031389"/>
            <a:ext cx="4041648" cy="29146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718305" y="2031389"/>
            <a:ext cx="4041775" cy="29146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26" name="Zástupný symbol pro datum 2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27" name="Zástupný symbol pro číslo snímku 2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8" name="Zástupný symbol pro zápatí 2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857250"/>
            <a:ext cx="8229600" cy="802386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>
          <a:xfrm>
            <a:off x="6583680" y="459486"/>
            <a:ext cx="957264" cy="342900"/>
          </a:xfrm>
        </p:spPr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5257800" y="459486"/>
            <a:ext cx="1325880" cy="342900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>
          <a:xfrm>
            <a:off x="8174736" y="1704"/>
            <a:ext cx="762000" cy="274320"/>
          </a:xfrm>
        </p:spPr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53496" y="826478"/>
            <a:ext cx="3383280" cy="658368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2"/>
          </p:nvPr>
        </p:nvSpPr>
        <p:spPr>
          <a:xfrm>
            <a:off x="5353496" y="1508045"/>
            <a:ext cx="3383280" cy="346329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1"/>
          </p:nvPr>
        </p:nvSpPr>
        <p:spPr>
          <a:xfrm>
            <a:off x="152400" y="582215"/>
            <a:ext cx="5102352" cy="438912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cs-CZ" smtClean="0"/>
              <a:t>Klepnutím lze upravit styly předlohy textu.</a:t>
            </a:r>
          </a:p>
          <a:p>
            <a:pPr lvl="1" eaLnBrk="1" latinLnBrk="0" hangingPunct="1"/>
            <a:r>
              <a:rPr lang="cs-CZ" smtClean="0"/>
              <a:t>Druhá úroveň</a:t>
            </a:r>
          </a:p>
          <a:p>
            <a:pPr lvl="2" eaLnBrk="1" latinLnBrk="0" hangingPunct="1"/>
            <a:r>
              <a:rPr lang="cs-CZ" smtClean="0"/>
              <a:t>Třetí úroveň</a:t>
            </a:r>
          </a:p>
          <a:p>
            <a:pPr lvl="3" eaLnBrk="1" latinLnBrk="0" hangingPunct="1"/>
            <a:r>
              <a:rPr lang="cs-CZ" smtClean="0"/>
              <a:t>Čtvrtá úroveň</a:t>
            </a:r>
          </a:p>
          <a:p>
            <a:pPr lvl="4" eaLnBrk="1" latinLnBrk="0" hangingPunct="1"/>
            <a:r>
              <a:rPr lang="cs-CZ" smtClean="0"/>
              <a:t>Pátá úroveň</a:t>
            </a:r>
            <a:endParaRPr kumimoji="0" lang="en-US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440435" y="831870"/>
            <a:ext cx="586803" cy="3511228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403671" y="857250"/>
            <a:ext cx="4572000" cy="3429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cs-CZ" dirty="0" smtClean="0"/>
              <a:t>Klepnutím na ikonu přidáte obrázek.</a:t>
            </a:r>
            <a:endParaRPr kumimoji="0" lang="en-US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6088443" y="2455731"/>
            <a:ext cx="2590800" cy="1887367"/>
          </a:xfrm>
        </p:spPr>
        <p:txBody>
          <a:bodyPr lIns="0" tIns="0" rIns="4572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cs-CZ" smtClean="0"/>
              <a:t>Klep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délník 27"/>
          <p:cNvSpPr/>
          <p:nvPr/>
        </p:nvSpPr>
        <p:spPr>
          <a:xfrm>
            <a:off x="1" y="275114"/>
            <a:ext cx="9144000" cy="6330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9" name="Obdélník 28"/>
          <p:cNvSpPr/>
          <p:nvPr/>
        </p:nvSpPr>
        <p:spPr>
          <a:xfrm>
            <a:off x="0" y="0"/>
            <a:ext cx="9144000" cy="232997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0" name="Obdélník 29"/>
          <p:cNvSpPr/>
          <p:nvPr/>
        </p:nvSpPr>
        <p:spPr>
          <a:xfrm>
            <a:off x="1" y="231207"/>
            <a:ext cx="9144001" cy="68581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1" name="Obdélník 30"/>
          <p:cNvSpPr/>
          <p:nvPr/>
        </p:nvSpPr>
        <p:spPr>
          <a:xfrm flipV="1">
            <a:off x="5410183" y="270185"/>
            <a:ext cx="3733819" cy="6831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2" name="Obdélník 31"/>
          <p:cNvSpPr/>
          <p:nvPr/>
        </p:nvSpPr>
        <p:spPr>
          <a:xfrm flipV="1">
            <a:off x="5410201" y="330085"/>
            <a:ext cx="3733801" cy="135026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3" name="Zaoblený obdélník 32"/>
          <p:cNvSpPr/>
          <p:nvPr/>
        </p:nvSpPr>
        <p:spPr bwMode="white">
          <a:xfrm>
            <a:off x="5407339" y="373128"/>
            <a:ext cx="3063240" cy="20574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4" name="Zaoblený obdélník 33"/>
          <p:cNvSpPr/>
          <p:nvPr/>
        </p:nvSpPr>
        <p:spPr bwMode="white">
          <a:xfrm>
            <a:off x="7373646" y="441707"/>
            <a:ext cx="160020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5" name="Obdélník 34"/>
          <p:cNvSpPr/>
          <p:nvPr/>
        </p:nvSpPr>
        <p:spPr bwMode="invGray">
          <a:xfrm>
            <a:off x="9084966" y="-1501"/>
            <a:ext cx="57626" cy="46634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6" name="Obdélník 35"/>
          <p:cNvSpPr/>
          <p:nvPr/>
        </p:nvSpPr>
        <p:spPr bwMode="invGray">
          <a:xfrm>
            <a:off x="9044481" y="-1501"/>
            <a:ext cx="27432" cy="466344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7" name="Obdélník 36"/>
          <p:cNvSpPr/>
          <p:nvPr/>
        </p:nvSpPr>
        <p:spPr bwMode="invGray">
          <a:xfrm>
            <a:off x="9025428" y="-1501"/>
            <a:ext cx="9144" cy="466344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8" name="Obdélník 37"/>
          <p:cNvSpPr/>
          <p:nvPr/>
        </p:nvSpPr>
        <p:spPr bwMode="invGray">
          <a:xfrm>
            <a:off x="8975423" y="-1501"/>
            <a:ext cx="27432" cy="466344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9" name="Obdélník 38"/>
          <p:cNvSpPr/>
          <p:nvPr/>
        </p:nvSpPr>
        <p:spPr bwMode="invGray">
          <a:xfrm>
            <a:off x="8915677" y="285"/>
            <a:ext cx="54864" cy="438912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40" name="Obdélník 39"/>
          <p:cNvSpPr/>
          <p:nvPr/>
        </p:nvSpPr>
        <p:spPr bwMode="invGray">
          <a:xfrm>
            <a:off x="8873475" y="285"/>
            <a:ext cx="9144" cy="438912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Zástupný symbol pro nadpis 21"/>
          <p:cNvSpPr>
            <a:spLocks noGrp="1"/>
          </p:cNvSpPr>
          <p:nvPr>
            <p:ph type="title"/>
          </p:nvPr>
        </p:nvSpPr>
        <p:spPr>
          <a:xfrm>
            <a:off x="457200" y="857250"/>
            <a:ext cx="8229600" cy="8001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cs-CZ" smtClean="0"/>
              <a:t>Klepnutím lze upravit styl předlohy nadpisů.</a:t>
            </a:r>
            <a:endParaRPr kumimoji="0" lang="en-US"/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idx="1"/>
          </p:nvPr>
        </p:nvSpPr>
        <p:spPr>
          <a:xfrm>
            <a:off x="457200" y="1687068"/>
            <a:ext cx="8229600" cy="3243834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cs-CZ" smtClean="0"/>
              <a:t>Klepnutím lze upravit styly předlohy textu.</a:t>
            </a:r>
          </a:p>
          <a:p>
            <a:pPr lvl="1" eaLnBrk="1" latinLnBrk="0" hangingPunct="1"/>
            <a:r>
              <a:rPr kumimoji="0" lang="cs-CZ" smtClean="0"/>
              <a:t>Druhá úroveň</a:t>
            </a:r>
          </a:p>
          <a:p>
            <a:pPr lvl="2" eaLnBrk="1" latinLnBrk="0" hangingPunct="1"/>
            <a:r>
              <a:rPr kumimoji="0" lang="cs-CZ" smtClean="0"/>
              <a:t>Třetí úroveň</a:t>
            </a:r>
          </a:p>
          <a:p>
            <a:pPr lvl="3" eaLnBrk="1" latinLnBrk="0" hangingPunct="1"/>
            <a:r>
              <a:rPr kumimoji="0" lang="cs-CZ" smtClean="0"/>
              <a:t>Čtvrtá úroveň</a:t>
            </a:r>
          </a:p>
          <a:p>
            <a:pPr lvl="4" eaLnBrk="1" latinLnBrk="0" hangingPunct="1"/>
            <a:r>
              <a:rPr kumimoji="0" lang="cs-CZ" smtClean="0"/>
              <a:t>Pátá úroveň</a:t>
            </a:r>
            <a:endParaRPr kumimoji="0" lang="en-US"/>
          </a:p>
        </p:txBody>
      </p:sp>
      <p:sp>
        <p:nvSpPr>
          <p:cNvPr id="14" name="Zástupný symbol pro datum 13"/>
          <p:cNvSpPr>
            <a:spLocks noGrp="1"/>
          </p:cNvSpPr>
          <p:nvPr>
            <p:ph type="dt" sz="half" idx="2"/>
          </p:nvPr>
        </p:nvSpPr>
        <p:spPr>
          <a:xfrm>
            <a:off x="6586536" y="459486"/>
            <a:ext cx="957264" cy="3429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fld id="{DD890BE8-03E3-4363-AA2A-B00767F0DD2D}" type="datetimeFigureOut">
              <a:rPr lang="cs-CZ" smtClean="0"/>
              <a:pPr/>
              <a:t>23.1.2020</a:t>
            </a:fld>
            <a:endParaRPr lang="cs-CZ" dirty="0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3"/>
          </p:nvPr>
        </p:nvSpPr>
        <p:spPr>
          <a:xfrm>
            <a:off x="5257800" y="459486"/>
            <a:ext cx="1325880" cy="3429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23" name="Zástupný symbol pro číslo snímku 22"/>
          <p:cNvSpPr>
            <a:spLocks noGrp="1"/>
          </p:cNvSpPr>
          <p:nvPr>
            <p:ph type="sldNum" sz="quarter" idx="4"/>
          </p:nvPr>
        </p:nvSpPr>
        <p:spPr>
          <a:xfrm>
            <a:off x="8174736" y="1704"/>
            <a:ext cx="762000" cy="274320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>
                <a:solidFill>
                  <a:srgbClr val="FFFFFF"/>
                </a:solidFill>
              </a:defRPr>
            </a:lvl1pPr>
          </a:lstStyle>
          <a:p>
            <a:fld id="{56B0E144-BBA0-4B8A-B675-55A0843253D1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5760" indent="-256032" algn="l" rtl="0" eaLnBrk="1" latinLnBrk="0" hangingPunct="1">
        <a:spcBef>
          <a:spcPts val="300"/>
        </a:spcBef>
        <a:buClr>
          <a:schemeClr val="accent3"/>
        </a:buClr>
        <a:buFont typeface="Georgia"/>
        <a:buChar char="•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46888" algn="l" rtl="0" eaLnBrk="1" latinLnBrk="0" hangingPunct="1">
        <a:spcBef>
          <a:spcPts val="300"/>
        </a:spcBef>
        <a:buClr>
          <a:schemeClr val="accent2"/>
        </a:buClr>
        <a:buFont typeface="Georgia"/>
        <a:buChar char="▫"/>
        <a:defRPr kumimoji="0"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3544" indent="-219456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76" indent="-201168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88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20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xmlns="" id="{0CF09DCE-C268-774C-810A-9B7869F35A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1760" y="2427734"/>
            <a:ext cx="5825202" cy="1234727"/>
          </a:xfrm>
        </p:spPr>
        <p:txBody>
          <a:bodyPr>
            <a:normAutofit fontScale="90000"/>
          </a:bodyPr>
          <a:lstStyle/>
          <a:p>
            <a:r>
              <a:rPr lang="cs-CZ" sz="4000" dirty="0"/>
              <a:t>Analýza evakuačního plánu ve vybrané společnosti</a:t>
            </a:r>
            <a:br>
              <a:rPr lang="cs-CZ" sz="40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xmlns="" id="{7DE4DC75-8644-6B41-A4C5-166055B4BDD3}"/>
              </a:ext>
            </a:extLst>
          </p:cNvPr>
          <p:cNvSpPr txBox="1"/>
          <p:nvPr/>
        </p:nvSpPr>
        <p:spPr>
          <a:xfrm>
            <a:off x="2266954" y="419102"/>
            <a:ext cx="65015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+mj-lt"/>
              </a:rPr>
              <a:t>Vysoká škola technická a ekonomická v Českých Budějovicích</a:t>
            </a:r>
          </a:p>
          <a:p>
            <a:pPr algn="ctr"/>
            <a:r>
              <a:rPr lang="cs-CZ" dirty="0">
                <a:solidFill>
                  <a:schemeClr val="bg1"/>
                </a:solidFill>
                <a:latin typeface="+mj-lt"/>
              </a:rPr>
              <a:t>Ústav technicko-technologický</a:t>
            </a:r>
          </a:p>
        </p:txBody>
      </p:sp>
      <p:sp>
        <p:nvSpPr>
          <p:cNvPr id="5" name="Podnadpis 2">
            <a:extLst>
              <a:ext uri="{FF2B5EF4-FFF2-40B4-BE49-F238E27FC236}">
                <a16:creationId xmlns:a16="http://schemas.microsoft.com/office/drawing/2014/main" xmlns="" id="{2B238C83-7F8C-D141-82FD-36D273E3A478}"/>
              </a:ext>
            </a:extLst>
          </p:cNvPr>
          <p:cNvSpPr txBox="1">
            <a:spLocks/>
          </p:cNvSpPr>
          <p:nvPr/>
        </p:nvSpPr>
        <p:spPr>
          <a:xfrm>
            <a:off x="1259632" y="3334796"/>
            <a:ext cx="7766936" cy="1667225"/>
          </a:xfrm>
          <a:prstGeom prst="rect">
            <a:avLst/>
          </a:prstGeom>
        </p:spPr>
        <p:txBody>
          <a:bodyPr vert="horz">
            <a:normAutofit lnSpcReduction="10000"/>
          </a:bodyPr>
          <a:lstStyle/>
          <a:p>
            <a:pPr marL="64008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utor bakalářské práce: Richard Bobr</a:t>
            </a:r>
          </a:p>
          <a:p>
            <a:pPr marL="64008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Vedoucí bakalářské práce: 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g. </a:t>
            </a:r>
            <a:r>
              <a:rPr lang="cs-CZ" sz="2400" dirty="0" smtClean="0">
                <a:latin typeface="+mj-lt"/>
              </a:rPr>
              <a:t>Martina Hlatká</a:t>
            </a:r>
            <a:endParaRPr kumimoji="0" lang="cs-CZ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64008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ponent: Ing. Marek Kocánek</a:t>
            </a:r>
          </a:p>
          <a:p>
            <a:pPr marL="64008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Georgia"/>
              <a:buNone/>
              <a:tabLst/>
              <a:defRPr/>
            </a:pPr>
            <a:r>
              <a:rPr kumimoji="0" lang="cs-CZ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České Budějovice, únor 2020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77853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just"/>
            <a:r>
              <a:rPr lang="cs-CZ" sz="4000" dirty="0" smtClean="0">
                <a:solidFill>
                  <a:schemeClr val="tx1"/>
                </a:solidFill>
              </a:rPr>
              <a:t>Cíl bakalářské práce</a:t>
            </a:r>
            <a:endParaRPr lang="cs-CZ" sz="40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35646"/>
            <a:ext cx="8219256" cy="3295256"/>
          </a:xfrm>
        </p:spPr>
        <p:txBody>
          <a:bodyPr>
            <a:normAutofit/>
          </a:bodyPr>
          <a:lstStyle/>
          <a:p>
            <a:pPr marL="109728" indent="0" algn="just">
              <a:buNone/>
            </a:pPr>
            <a:r>
              <a:rPr lang="cs-CZ" sz="2400" dirty="0" smtClean="0">
                <a:latin typeface="+mj-lt"/>
              </a:rPr>
              <a:t>Tato bakalářská práce je zaměřena na evakuaci osob při požáru z vybrané budovy. V teoretické části jsou vymezeny základní pojmy, dělení mimořádných událostí a evakuace, požární bezpečnost. Praktická část se zabývá charakteristikou závodu a konkrétních rizik a hrozeb, identifikací protipožárně bezpečnostních zařízení, připraveností a orientací zaměstnanců v otázkách požární ochrany, cvičným požárním a evakuačním poplachem.</a:t>
            </a:r>
          </a:p>
          <a:p>
            <a:pPr algn="just"/>
            <a:endParaRPr lang="cs-CZ" sz="2400" dirty="0">
              <a:latin typeface="+mj-lt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</a:rPr>
              <a:t>Výzkumný problém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Jsou zaměstnanci schopni plynulé a bezproblémové evakuace při vyskytnutí mimořádných událostí? </a:t>
            </a:r>
          </a:p>
          <a:p>
            <a:r>
              <a:rPr lang="cs-CZ" dirty="0" smtClean="0"/>
              <a:t>Jakým způsobem lze v podniku vylepšit bezpečnost při evakuaci a rychlost evakuace?</a:t>
            </a:r>
            <a:endParaRPr lang="cs-CZ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</a:rPr>
              <a:t>Dosažené výsledky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cs-CZ" dirty="0" smtClean="0"/>
              <a:t>Zaměstnanci jsou schopni plynulé evakuace.</a:t>
            </a:r>
          </a:p>
          <a:p>
            <a:pPr algn="just"/>
            <a:r>
              <a:rPr lang="cs-CZ" dirty="0" smtClean="0"/>
              <a:t>Nedostatek únikových cest.</a:t>
            </a:r>
          </a:p>
          <a:p>
            <a:pPr algn="just"/>
            <a:r>
              <a:rPr lang="cs-CZ" dirty="0" smtClean="0"/>
              <a:t>Racionalizace evakuace z budovy a rychlejší přesun do nemocnice.</a:t>
            </a:r>
          </a:p>
          <a:p>
            <a:pPr algn="just"/>
            <a:r>
              <a:rPr lang="cs-CZ" dirty="0" smtClean="0"/>
              <a:t>Vylepšení zastaralých bezpečnostních prvků v budově.</a:t>
            </a:r>
          </a:p>
          <a:p>
            <a:pPr algn="just"/>
            <a:endParaRPr lang="cs-CZ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</a:rPr>
              <a:t>Návrhy opatření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87068"/>
            <a:ext cx="8363272" cy="3243834"/>
          </a:xfrm>
        </p:spPr>
        <p:txBody>
          <a:bodyPr/>
          <a:lstStyle/>
          <a:p>
            <a:pPr algn="just"/>
            <a:r>
              <a:rPr lang="cs-CZ" dirty="0" smtClean="0"/>
              <a:t>Návrh požárního schodiště.</a:t>
            </a:r>
          </a:p>
          <a:p>
            <a:r>
              <a:rPr lang="cs-CZ" dirty="0" smtClean="0"/>
              <a:t>Návrh osobního automobilu pro mimořádné situace a zdokonalení pracovní činnosti.</a:t>
            </a:r>
          </a:p>
          <a:p>
            <a:r>
              <a:rPr lang="cs-CZ" dirty="0" smtClean="0"/>
              <a:t>Návrh opatření zastaralé budovy </a:t>
            </a:r>
            <a:r>
              <a:rPr lang="cs-CZ" dirty="0" smtClean="0"/>
              <a:t>bezpečnostními prvky.</a:t>
            </a:r>
            <a:endParaRPr lang="cs-CZ" dirty="0" smtClean="0"/>
          </a:p>
          <a:p>
            <a:pPr algn="just"/>
            <a:endParaRPr lang="cs-CZ" dirty="0" smtClean="0"/>
          </a:p>
          <a:p>
            <a:pPr algn="just"/>
            <a:endParaRPr lang="cs-CZ" dirty="0"/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1"/>
                </a:solidFill>
              </a:rPr>
              <a:t>Závěrečné shrnutí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 numCol="1"/>
          <a:lstStyle/>
          <a:p>
            <a:r>
              <a:rPr lang="cs-CZ" dirty="0" smtClean="0">
                <a:solidFill>
                  <a:schemeClr val="tx1"/>
                </a:solidFill>
              </a:rPr>
              <a:t>Analýzou a zpracováním dat zjištěny nedostatky.</a:t>
            </a:r>
          </a:p>
          <a:p>
            <a:pPr algn="just"/>
            <a:r>
              <a:rPr lang="cs-CZ" dirty="0" smtClean="0">
                <a:solidFill>
                  <a:schemeClr val="tx1"/>
                </a:solidFill>
              </a:rPr>
              <a:t>Návrh osobního automobilu.</a:t>
            </a:r>
          </a:p>
          <a:p>
            <a:r>
              <a:rPr lang="cs-CZ" dirty="0" smtClean="0">
                <a:solidFill>
                  <a:schemeClr val="tx1"/>
                </a:solidFill>
              </a:rPr>
              <a:t>Návrh požárního schodiště a drobných bezpečnostních prvk</a:t>
            </a:r>
            <a:r>
              <a:rPr lang="cs-CZ" dirty="0" smtClean="0"/>
              <a:t>ů.</a:t>
            </a:r>
            <a:endParaRPr lang="cs-CZ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376884"/>
              </p:ext>
            </p:extLst>
          </p:nvPr>
        </p:nvGraphicFramePr>
        <p:xfrm>
          <a:off x="1194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4" y="1192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>
            <p:custDataLst>
              <p:tags r:id="rId3"/>
            </p:custDataLst>
          </p:nvPr>
        </p:nvSpPr>
        <p:spPr>
          <a:xfrm>
            <a:off x="2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cs-CZ" sz="48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xmlns="" id="{37BFACB9-3957-1242-B925-4C358D253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3651" y="2031690"/>
            <a:ext cx="6447501" cy="990600"/>
          </a:xfrm>
        </p:spPr>
        <p:txBody>
          <a:bodyPr>
            <a:normAutofit/>
          </a:bodyPr>
          <a:lstStyle/>
          <a:p>
            <a:pPr algn="ctr"/>
            <a:r>
              <a:rPr lang="cs-CZ" sz="4800" dirty="0">
                <a:solidFill>
                  <a:schemeClr val="tx1"/>
                </a:solidFill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407820752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Otázky vedoucího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452628" indent="-342900" algn="just">
              <a:buFont typeface="+mj-lt"/>
              <a:buAutoNum type="arabicParenR"/>
            </a:pPr>
            <a:r>
              <a:rPr lang="cs-CZ" sz="1600" dirty="0" smtClean="0"/>
              <a:t>Opravdu mají všichni zaměstnanci referentské zkoušky na OA? </a:t>
            </a:r>
          </a:p>
          <a:p>
            <a:pPr marL="452628" indent="-342900" algn="just">
              <a:buFont typeface="+mj-lt"/>
              <a:buAutoNum type="arabicParenR"/>
            </a:pPr>
            <a:r>
              <a:rPr lang="cs-CZ" sz="1600" dirty="0" smtClean="0"/>
              <a:t>Počítal jste náklady na OA, který bude primárně sloužit jen pro mimořádné situace (viz. str.29 ” Návrhem na vylepšení evakuačního plánu je služební auto, které by bylo zaparkováno poblíž laboratoře a které by sloužilo primárně při nastání mimořádné situace, ale také ke zvýšení efektivity pracovní činnosti v laboratoři.”). Jaká je pravděpodobnost, že mimořádná situace nastane? Jakým způsobem dokáže OA zvýšit efektivitu pracovní činnosti v laboratoři? </a:t>
            </a:r>
          </a:p>
          <a:p>
            <a:pPr marL="452628" indent="-342900" algn="just">
              <a:buFont typeface="+mj-lt"/>
              <a:buAutoNum type="arabicParenR"/>
            </a:pPr>
            <a:r>
              <a:rPr lang="cs-CZ" sz="1600" dirty="0" smtClean="0"/>
              <a:t>Vysvětlete větu ze strany 34 (”Dalším podaným řešením je služební automobil u budovy, který zkrátí čas evakuace zraněných osob do nemocnice, jelikož bez služebního automobilu se nejdříve museli shromáždit veškeří zaměstnanci před budovu, kde byl nadále zjištěn stav a počet pracovníků a poté se dovolávalo na záchrannou službu”). Snad se musí všichni dostavit na shromaždiště, kde budou následně přepočítáni i když je tam OA? 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Otázky oponenta</a:t>
            </a:r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66928" indent="-457200" algn="just">
              <a:buFont typeface="+mj-lt"/>
              <a:buAutoNum type="arabicParenR"/>
            </a:pPr>
            <a:r>
              <a:rPr lang="cs-CZ" sz="2000" dirty="0" smtClean="0"/>
              <a:t>Je vstupní kontrola ve společnosti KOTOUČ ŠTRAMBERK, s.r.o. omezena pouze na vizuální kontrolu vstupních surovin jak autor uvádí, tzn. bez laboratorních rozborů vstupních surovin? </a:t>
            </a:r>
          </a:p>
          <a:p>
            <a:pPr marL="566928" indent="-457200" algn="just">
              <a:buFont typeface="+mj-lt"/>
              <a:buAutoNum type="arabicParenR"/>
            </a:pPr>
            <a:r>
              <a:rPr lang="cs-CZ" sz="2000" dirty="0" smtClean="0"/>
              <a:t>Autor bakalářské práce v úvodu specifikoval nebezpečné chemické látky, které jsou v laboratoři přítomny. Následně v části 4.1.6 uvádí osobní ochranné prostředky, kterými jsou pracovníci vybaveni (rukavice, plášť, obuv, ochranné brýle). V tomto bodě postrádám respirátor, případně polomasku s filtrem pro příslušný stupeň chemické ochrany. Opravdu nejsou tyto významné ochranné prostředky v laboratořích přítomny?</a:t>
            </a:r>
            <a:endParaRPr lang="cs-CZ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7qskmyQP6YMJaDI4gCL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rbanistický">
  <a:themeElements>
    <a:clrScheme name="Urbanistický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Vlastní 1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Urbanistický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tiv1</Template>
  <TotalTime>101</TotalTime>
  <Words>464</Words>
  <Application>Microsoft Office PowerPoint</Application>
  <PresentationFormat>Předvádění na obrazovce (16:9)</PresentationFormat>
  <Paragraphs>34</Paragraphs>
  <Slides>9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5" baseType="lpstr">
      <vt:lpstr>Calibri</vt:lpstr>
      <vt:lpstr>Georgia</vt:lpstr>
      <vt:lpstr>Trebuchet MS</vt:lpstr>
      <vt:lpstr>Wingdings 2</vt:lpstr>
      <vt:lpstr>Urbanistický</vt:lpstr>
      <vt:lpstr>think-cell Slide</vt:lpstr>
      <vt:lpstr>Analýza evakuačního plánu ve vybrané společnosti  </vt:lpstr>
      <vt:lpstr>Cíl bakalářské práce</vt:lpstr>
      <vt:lpstr>Výzkumný problém</vt:lpstr>
      <vt:lpstr>Dosažené výsledky</vt:lpstr>
      <vt:lpstr>Návrhy opatření</vt:lpstr>
      <vt:lpstr>Závěrečné shrnutí</vt:lpstr>
      <vt:lpstr>Děkuji za pozornost</vt:lpstr>
      <vt:lpstr>Otázky vedoucího</vt:lpstr>
      <vt:lpstr>Otázky oponent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alýza evakuačního plánu ve vybrané společnosti</dc:title>
  <dc:creator>Windows User</dc:creator>
  <cp:lastModifiedBy>Hlatká Martina</cp:lastModifiedBy>
  <cp:revision>20</cp:revision>
  <dcterms:created xsi:type="dcterms:W3CDTF">2020-01-12T12:21:48Z</dcterms:created>
  <dcterms:modified xsi:type="dcterms:W3CDTF">2020-01-23T08:43:06Z</dcterms:modified>
</cp:coreProperties>
</file>